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3.xml" ContentType="application/vnd.openxmlformats-officedocument.presentationml.tags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744" r:id="rId1"/>
  </p:sldMasterIdLst>
  <p:notesMasterIdLst>
    <p:notesMasterId r:id="rId8"/>
  </p:notesMasterIdLst>
  <p:handoutMasterIdLst>
    <p:handoutMasterId r:id="rId9"/>
  </p:handoutMasterIdLst>
  <p:sldIdLst>
    <p:sldId id="277" r:id="rId2"/>
    <p:sldId id="256" r:id="rId3"/>
    <p:sldId id="276" r:id="rId4"/>
    <p:sldId id="274" r:id="rId5"/>
    <p:sldId id="275" r:id="rId6"/>
    <p:sldId id="273" r:id="rId7"/>
  </p:sldIdLst>
  <p:sldSz cx="12192000" cy="6858000"/>
  <p:notesSz cx="6858000" cy="9144000"/>
  <p:custDataLst>
    <p:tags r:id="rId10"/>
  </p:custDataLst>
  <p:defaultTextStyle>
    <a:defPPr rtl="0">
      <a:defRPr lang="es-E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668BB41-EB90-F9AD-7761-8D8073D7D902}" name="Nicolas Adolfo Castillo Betancourt" initials="NB" userId="S::na.castillob1@uniandes.edu.co::725db01a-925b-4b61-8448-f228571cc3cc" providerId="AD"/>
  <p188:author id="{FE2BD84D-CD02-3069-9543-992AD98E6794}" name="Johan David Rodriguez Portela" initials="JP" userId="S::jd.rodriguezp1234@uniandes.edu.co::2f65a410-dc88-4fb1-a36f-3865d6e7deb4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C349CC2-05C5-453B-846E-ABF25066BF3D}" v="969" dt="2023-11-30T02:55:09.972"/>
    <p1510:client id="{4EC3FEFC-8116-891A-1EA2-5700CB1CBDD7}" v="36" dt="2023-11-29T19:44:26.502"/>
    <p1510:client id="{57182A2C-3F6C-5509-B6CF-686513541D29}" v="4" dt="2023-11-30T02:07:25.709"/>
    <p1510:client id="{6F059B51-C064-6493-1126-4E3E0D042F92}" v="1245" dt="2023-11-30T01:27:51.484"/>
    <p1510:client id="{97E7E5F5-38E4-E881-E40F-68BDAB426085}" v="81" dt="2023-11-30T02:30:50.222"/>
    <p1510:client id="{ADB8BB20-920F-F45E-6ABE-FF3CB8BF1557}" v="125" dt="2023-11-30T03:06:30.906"/>
    <p1510:client id="{E3AC4440-F38B-1E55-01D0-9966914BC66D}" v="8" dt="2023-12-01T00:07:35.750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microsoft.com/office/2018/10/relationships/authors" Target="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microsoft.com/office/2015/10/relationships/revisionInfo" Target="revisionInfo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diagrams/_rels/data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image" Target="../media/image7.svg"/><Relationship Id="rId1" Type="http://schemas.openxmlformats.org/officeDocument/2006/relationships/image" Target="../media/image6.png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9.svg"/></Relationships>
</file>

<file path=ppt/diagrams/_rels/drawing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image" Target="../media/image7.svg"/><Relationship Id="rId1" Type="http://schemas.openxmlformats.org/officeDocument/2006/relationships/image" Target="../media/image6.png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9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CBAAA87-43F7-455F-B387-44666FED3C46}" type="doc">
      <dgm:prSet loTypeId="urn:microsoft.com/office/officeart/2018/2/layout/IconLabelList" loCatId="icon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19F72C2A-FBBC-48B1-800C-CC66CBC9F13E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s-ES" sz="2400"/>
            <a:t>Limpieza de Datos</a:t>
          </a:r>
          <a:endParaRPr lang="en-US" sz="2400"/>
        </a:p>
      </dgm:t>
    </dgm:pt>
    <dgm:pt modelId="{97A986F2-1C10-42E3-8D81-F0299C476091}" type="parTrans" cxnId="{EE73E20E-6C67-462B-82E8-A1F749E605DD}">
      <dgm:prSet/>
      <dgm:spPr/>
      <dgm:t>
        <a:bodyPr/>
        <a:lstStyle/>
        <a:p>
          <a:endParaRPr lang="en-US" sz="2400"/>
        </a:p>
      </dgm:t>
    </dgm:pt>
    <dgm:pt modelId="{B953E3D4-503E-403E-99F7-BF6521DB3D4A}" type="sibTrans" cxnId="{EE73E20E-6C67-462B-82E8-A1F749E605DD}">
      <dgm:prSet/>
      <dgm:spPr/>
      <dgm:t>
        <a:bodyPr/>
        <a:lstStyle/>
        <a:p>
          <a:endParaRPr lang="en-US" sz="2400"/>
        </a:p>
      </dgm:t>
    </dgm:pt>
    <dgm:pt modelId="{1F92CA38-DEC8-4619-A1EF-EA0AC92BC829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s-ES" sz="2400"/>
            <a:t>Conexión entre datos operativos y comerciales</a:t>
          </a:r>
          <a:endParaRPr lang="en-US" sz="2400"/>
        </a:p>
      </dgm:t>
    </dgm:pt>
    <dgm:pt modelId="{902065BD-3932-43A1-9897-D247F142E1DF}" type="parTrans" cxnId="{2BB5BCAD-1175-49F1-A230-173C28A91C13}">
      <dgm:prSet/>
      <dgm:spPr/>
      <dgm:t>
        <a:bodyPr/>
        <a:lstStyle/>
        <a:p>
          <a:endParaRPr lang="en-US" sz="2400"/>
        </a:p>
      </dgm:t>
    </dgm:pt>
    <dgm:pt modelId="{CCFFAA87-03D9-449C-8FC4-458B817DDDED}" type="sibTrans" cxnId="{2BB5BCAD-1175-49F1-A230-173C28A91C13}">
      <dgm:prSet/>
      <dgm:spPr/>
      <dgm:t>
        <a:bodyPr/>
        <a:lstStyle/>
        <a:p>
          <a:endParaRPr lang="en-US" sz="2400"/>
        </a:p>
      </dgm:t>
    </dgm:pt>
    <dgm:pt modelId="{5F167BDB-6E3A-4445-9D4B-E7B7083E8C8C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s-ES" sz="2400"/>
            <a:t>Despliegue de la aplicación</a:t>
          </a:r>
          <a:endParaRPr lang="en-US" sz="2400"/>
        </a:p>
      </dgm:t>
    </dgm:pt>
    <dgm:pt modelId="{31D8F309-3129-4A42-A24F-F4FD6C135EC5}" type="parTrans" cxnId="{9AAB208C-00FF-4F10-8BDC-376FB783A86B}">
      <dgm:prSet/>
      <dgm:spPr/>
      <dgm:t>
        <a:bodyPr/>
        <a:lstStyle/>
        <a:p>
          <a:endParaRPr lang="en-US" sz="2400"/>
        </a:p>
      </dgm:t>
    </dgm:pt>
    <dgm:pt modelId="{12FD0BF3-7ECA-4723-BB70-76F9BF4F781C}" type="sibTrans" cxnId="{9AAB208C-00FF-4F10-8BDC-376FB783A86B}">
      <dgm:prSet/>
      <dgm:spPr/>
      <dgm:t>
        <a:bodyPr/>
        <a:lstStyle/>
        <a:p>
          <a:endParaRPr lang="en-US" sz="2400"/>
        </a:p>
      </dgm:t>
    </dgm:pt>
    <dgm:pt modelId="{A86F6290-3B40-4543-A5C9-131BFCDA277E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s-ES" sz="2400"/>
            <a:t>Medición del impacto del modelo</a:t>
          </a:r>
          <a:endParaRPr lang="en-US" sz="2400"/>
        </a:p>
      </dgm:t>
    </dgm:pt>
    <dgm:pt modelId="{2266E042-5DD9-4B54-94FA-F8181F06B116}" type="parTrans" cxnId="{4779C74C-1A47-4D03-B2B1-F8D7A3F11918}">
      <dgm:prSet/>
      <dgm:spPr/>
      <dgm:t>
        <a:bodyPr/>
        <a:lstStyle/>
        <a:p>
          <a:endParaRPr lang="en-US" sz="2400"/>
        </a:p>
      </dgm:t>
    </dgm:pt>
    <dgm:pt modelId="{908879FC-F169-424D-8250-0CAB33C49E12}" type="sibTrans" cxnId="{4779C74C-1A47-4D03-B2B1-F8D7A3F11918}">
      <dgm:prSet/>
      <dgm:spPr/>
      <dgm:t>
        <a:bodyPr/>
        <a:lstStyle/>
        <a:p>
          <a:endParaRPr lang="en-US" sz="2400"/>
        </a:p>
      </dgm:t>
    </dgm:pt>
    <dgm:pt modelId="{B4D5DCD2-8EE4-4072-B041-C18A4F84C759}" type="pres">
      <dgm:prSet presAssocID="{4CBAAA87-43F7-455F-B387-44666FED3C46}" presName="root" presStyleCnt="0">
        <dgm:presLayoutVars>
          <dgm:dir/>
          <dgm:resizeHandles val="exact"/>
        </dgm:presLayoutVars>
      </dgm:prSet>
      <dgm:spPr/>
    </dgm:pt>
    <dgm:pt modelId="{F6E7BBE4-42A3-450E-A67B-11FD332E1005}" type="pres">
      <dgm:prSet presAssocID="{19F72C2A-FBBC-48B1-800C-CC66CBC9F13E}" presName="compNode" presStyleCnt="0"/>
      <dgm:spPr/>
    </dgm:pt>
    <dgm:pt modelId="{FDB58F08-5493-41A9-9EC9-453038B4FC49}" type="pres">
      <dgm:prSet presAssocID="{19F72C2A-FBBC-48B1-800C-CC66CBC9F13E}" presName="iconRect" presStyleLbl="node1" presStyleIdx="0" presStyleCnt="4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Mop and bucket"/>
        </a:ext>
      </dgm:extLst>
    </dgm:pt>
    <dgm:pt modelId="{234DC0A6-31AC-42F7-BE06-841470773ABE}" type="pres">
      <dgm:prSet presAssocID="{19F72C2A-FBBC-48B1-800C-CC66CBC9F13E}" presName="spaceRect" presStyleCnt="0"/>
      <dgm:spPr/>
    </dgm:pt>
    <dgm:pt modelId="{0BE8A450-D189-41D1-9036-F04968296859}" type="pres">
      <dgm:prSet presAssocID="{19F72C2A-FBBC-48B1-800C-CC66CBC9F13E}" presName="textRect" presStyleLbl="revTx" presStyleIdx="0" presStyleCnt="4">
        <dgm:presLayoutVars>
          <dgm:chMax val="1"/>
          <dgm:chPref val="1"/>
        </dgm:presLayoutVars>
      </dgm:prSet>
      <dgm:spPr/>
    </dgm:pt>
    <dgm:pt modelId="{C9817536-25FE-45E3-903C-9793C5C93B62}" type="pres">
      <dgm:prSet presAssocID="{B953E3D4-503E-403E-99F7-BF6521DB3D4A}" presName="sibTrans" presStyleCnt="0"/>
      <dgm:spPr/>
    </dgm:pt>
    <dgm:pt modelId="{9A007C40-0438-4103-82D9-C7D8D41DE2FC}" type="pres">
      <dgm:prSet presAssocID="{1F92CA38-DEC8-4619-A1EF-EA0AC92BC829}" presName="compNode" presStyleCnt="0"/>
      <dgm:spPr/>
    </dgm:pt>
    <dgm:pt modelId="{04263B80-24B7-489E-B55F-E86E369E24DF}" type="pres">
      <dgm:prSet presAssocID="{1F92CA38-DEC8-4619-A1EF-EA0AC92BC829}" presName="iconRect" presStyleLbl="node1" presStyleIdx="1" presStyleCnt="4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Network"/>
        </a:ext>
      </dgm:extLst>
    </dgm:pt>
    <dgm:pt modelId="{D2FBAEB3-4DF1-4624-95AF-9CD01E0A0939}" type="pres">
      <dgm:prSet presAssocID="{1F92CA38-DEC8-4619-A1EF-EA0AC92BC829}" presName="spaceRect" presStyleCnt="0"/>
      <dgm:spPr/>
    </dgm:pt>
    <dgm:pt modelId="{CA181470-4D0E-48CA-9561-41E1EBBF3DB2}" type="pres">
      <dgm:prSet presAssocID="{1F92CA38-DEC8-4619-A1EF-EA0AC92BC829}" presName="textRect" presStyleLbl="revTx" presStyleIdx="1" presStyleCnt="4" custScaleX="110000">
        <dgm:presLayoutVars>
          <dgm:chMax val="1"/>
          <dgm:chPref val="1"/>
        </dgm:presLayoutVars>
      </dgm:prSet>
      <dgm:spPr/>
    </dgm:pt>
    <dgm:pt modelId="{DC02F629-84D5-45B7-9885-ED43076153F7}" type="pres">
      <dgm:prSet presAssocID="{CCFFAA87-03D9-449C-8FC4-458B817DDDED}" presName="sibTrans" presStyleCnt="0"/>
      <dgm:spPr/>
    </dgm:pt>
    <dgm:pt modelId="{52DA422F-BD03-4916-A14F-1C71F13E8A01}" type="pres">
      <dgm:prSet presAssocID="{5F167BDB-6E3A-4445-9D4B-E7B7083E8C8C}" presName="compNode" presStyleCnt="0"/>
      <dgm:spPr/>
    </dgm:pt>
    <dgm:pt modelId="{24FD44AD-E97E-4948-9AD7-677972F5C714}" type="pres">
      <dgm:prSet presAssocID="{5F167BDB-6E3A-4445-9D4B-E7B7083E8C8C}" presName="iconRect" presStyleLbl="node1" presStyleIdx="2" presStyleCnt="4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Smart Phone"/>
        </a:ext>
      </dgm:extLst>
    </dgm:pt>
    <dgm:pt modelId="{CFD91BF7-34EB-40FA-8E72-974B197120B4}" type="pres">
      <dgm:prSet presAssocID="{5F167BDB-6E3A-4445-9D4B-E7B7083E8C8C}" presName="spaceRect" presStyleCnt="0"/>
      <dgm:spPr/>
    </dgm:pt>
    <dgm:pt modelId="{9EB73481-905B-4CD6-B0C3-1A11CDAF18E1}" type="pres">
      <dgm:prSet presAssocID="{5F167BDB-6E3A-4445-9D4B-E7B7083E8C8C}" presName="textRect" presStyleLbl="revTx" presStyleIdx="2" presStyleCnt="4">
        <dgm:presLayoutVars>
          <dgm:chMax val="1"/>
          <dgm:chPref val="1"/>
        </dgm:presLayoutVars>
      </dgm:prSet>
      <dgm:spPr/>
    </dgm:pt>
    <dgm:pt modelId="{FA52CF0C-55D4-46A9-B8AB-512953FDFE15}" type="pres">
      <dgm:prSet presAssocID="{12FD0BF3-7ECA-4723-BB70-76F9BF4F781C}" presName="sibTrans" presStyleCnt="0"/>
      <dgm:spPr/>
    </dgm:pt>
    <dgm:pt modelId="{7FA37DF1-9F8F-4A0E-8FE5-690453E4300D}" type="pres">
      <dgm:prSet presAssocID="{A86F6290-3B40-4543-A5C9-131BFCDA277E}" presName="compNode" presStyleCnt="0"/>
      <dgm:spPr/>
    </dgm:pt>
    <dgm:pt modelId="{EF7F1B9A-FBC5-455E-9228-E2ED00590728}" type="pres">
      <dgm:prSet presAssocID="{A86F6290-3B40-4543-A5C9-131BFCDA277E}" presName="iconRect" presStyleLbl="node1" presStyleIdx="3" presStyleCnt="4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Ruler"/>
        </a:ext>
      </dgm:extLst>
    </dgm:pt>
    <dgm:pt modelId="{29265EDB-4A4E-495B-88E5-D4714BF274DE}" type="pres">
      <dgm:prSet presAssocID="{A86F6290-3B40-4543-A5C9-131BFCDA277E}" presName="spaceRect" presStyleCnt="0"/>
      <dgm:spPr/>
    </dgm:pt>
    <dgm:pt modelId="{8E348A7E-8BFE-4F7C-99C0-C9772EA37135}" type="pres">
      <dgm:prSet presAssocID="{A86F6290-3B40-4543-A5C9-131BFCDA277E}" presName="textRect" presStyleLbl="revTx" presStyleIdx="3" presStyleCnt="4">
        <dgm:presLayoutVars>
          <dgm:chMax val="1"/>
          <dgm:chPref val="1"/>
        </dgm:presLayoutVars>
      </dgm:prSet>
      <dgm:spPr/>
    </dgm:pt>
  </dgm:ptLst>
  <dgm:cxnLst>
    <dgm:cxn modelId="{05E73206-07DF-44FF-AEF6-97C62274321E}" type="presOf" srcId="{5F167BDB-6E3A-4445-9D4B-E7B7083E8C8C}" destId="{9EB73481-905B-4CD6-B0C3-1A11CDAF18E1}" srcOrd="0" destOrd="0" presId="urn:microsoft.com/office/officeart/2018/2/layout/IconLabelList"/>
    <dgm:cxn modelId="{EE73E20E-6C67-462B-82E8-A1F749E605DD}" srcId="{4CBAAA87-43F7-455F-B387-44666FED3C46}" destId="{19F72C2A-FBBC-48B1-800C-CC66CBC9F13E}" srcOrd="0" destOrd="0" parTransId="{97A986F2-1C10-42E3-8D81-F0299C476091}" sibTransId="{B953E3D4-503E-403E-99F7-BF6521DB3D4A}"/>
    <dgm:cxn modelId="{E564111D-9C29-4CE7-83D9-0D81D0669F11}" type="presOf" srcId="{4CBAAA87-43F7-455F-B387-44666FED3C46}" destId="{B4D5DCD2-8EE4-4072-B041-C18A4F84C759}" srcOrd="0" destOrd="0" presId="urn:microsoft.com/office/officeart/2018/2/layout/IconLabelList"/>
    <dgm:cxn modelId="{349D603C-131D-4980-8331-52408E656AD0}" type="presOf" srcId="{19F72C2A-FBBC-48B1-800C-CC66CBC9F13E}" destId="{0BE8A450-D189-41D1-9036-F04968296859}" srcOrd="0" destOrd="0" presId="urn:microsoft.com/office/officeart/2018/2/layout/IconLabelList"/>
    <dgm:cxn modelId="{4779C74C-1A47-4D03-B2B1-F8D7A3F11918}" srcId="{4CBAAA87-43F7-455F-B387-44666FED3C46}" destId="{A86F6290-3B40-4543-A5C9-131BFCDA277E}" srcOrd="3" destOrd="0" parTransId="{2266E042-5DD9-4B54-94FA-F8181F06B116}" sibTransId="{908879FC-F169-424D-8250-0CAB33C49E12}"/>
    <dgm:cxn modelId="{ECCFBE50-B2C3-4E14-86DD-1FAE35C87466}" type="presOf" srcId="{1F92CA38-DEC8-4619-A1EF-EA0AC92BC829}" destId="{CA181470-4D0E-48CA-9561-41E1EBBF3DB2}" srcOrd="0" destOrd="0" presId="urn:microsoft.com/office/officeart/2018/2/layout/IconLabelList"/>
    <dgm:cxn modelId="{FAF5E489-9C5B-4013-ABA8-079402577373}" type="presOf" srcId="{A86F6290-3B40-4543-A5C9-131BFCDA277E}" destId="{8E348A7E-8BFE-4F7C-99C0-C9772EA37135}" srcOrd="0" destOrd="0" presId="urn:microsoft.com/office/officeart/2018/2/layout/IconLabelList"/>
    <dgm:cxn modelId="{9AAB208C-00FF-4F10-8BDC-376FB783A86B}" srcId="{4CBAAA87-43F7-455F-B387-44666FED3C46}" destId="{5F167BDB-6E3A-4445-9D4B-E7B7083E8C8C}" srcOrd="2" destOrd="0" parTransId="{31D8F309-3129-4A42-A24F-F4FD6C135EC5}" sibTransId="{12FD0BF3-7ECA-4723-BB70-76F9BF4F781C}"/>
    <dgm:cxn modelId="{2BB5BCAD-1175-49F1-A230-173C28A91C13}" srcId="{4CBAAA87-43F7-455F-B387-44666FED3C46}" destId="{1F92CA38-DEC8-4619-A1EF-EA0AC92BC829}" srcOrd="1" destOrd="0" parTransId="{902065BD-3932-43A1-9897-D247F142E1DF}" sibTransId="{CCFFAA87-03D9-449C-8FC4-458B817DDDED}"/>
    <dgm:cxn modelId="{BCC2210D-6DD9-41A0-B15B-64B2CE2D58FC}" type="presParOf" srcId="{B4D5DCD2-8EE4-4072-B041-C18A4F84C759}" destId="{F6E7BBE4-42A3-450E-A67B-11FD332E1005}" srcOrd="0" destOrd="0" presId="urn:microsoft.com/office/officeart/2018/2/layout/IconLabelList"/>
    <dgm:cxn modelId="{E1E189F0-9635-4E1B-B1BB-D6F0B1B01A57}" type="presParOf" srcId="{F6E7BBE4-42A3-450E-A67B-11FD332E1005}" destId="{FDB58F08-5493-41A9-9EC9-453038B4FC49}" srcOrd="0" destOrd="0" presId="urn:microsoft.com/office/officeart/2018/2/layout/IconLabelList"/>
    <dgm:cxn modelId="{A8ABC023-745E-4E2B-98C4-A21AC87041FC}" type="presParOf" srcId="{F6E7BBE4-42A3-450E-A67B-11FD332E1005}" destId="{234DC0A6-31AC-42F7-BE06-841470773ABE}" srcOrd="1" destOrd="0" presId="urn:microsoft.com/office/officeart/2018/2/layout/IconLabelList"/>
    <dgm:cxn modelId="{0E5BECDE-5247-4C2F-ABAA-4BF39A0595EF}" type="presParOf" srcId="{F6E7BBE4-42A3-450E-A67B-11FD332E1005}" destId="{0BE8A450-D189-41D1-9036-F04968296859}" srcOrd="2" destOrd="0" presId="urn:microsoft.com/office/officeart/2018/2/layout/IconLabelList"/>
    <dgm:cxn modelId="{5607C068-8DC3-464E-9AB2-7EB99F893763}" type="presParOf" srcId="{B4D5DCD2-8EE4-4072-B041-C18A4F84C759}" destId="{C9817536-25FE-45E3-903C-9793C5C93B62}" srcOrd="1" destOrd="0" presId="urn:microsoft.com/office/officeart/2018/2/layout/IconLabelList"/>
    <dgm:cxn modelId="{B51A00CD-4D95-41F3-802F-45544D68F1FC}" type="presParOf" srcId="{B4D5DCD2-8EE4-4072-B041-C18A4F84C759}" destId="{9A007C40-0438-4103-82D9-C7D8D41DE2FC}" srcOrd="2" destOrd="0" presId="urn:microsoft.com/office/officeart/2018/2/layout/IconLabelList"/>
    <dgm:cxn modelId="{DAB2A384-73CF-4A27-B634-1373A97B81B3}" type="presParOf" srcId="{9A007C40-0438-4103-82D9-C7D8D41DE2FC}" destId="{04263B80-24B7-489E-B55F-E86E369E24DF}" srcOrd="0" destOrd="0" presId="urn:microsoft.com/office/officeart/2018/2/layout/IconLabelList"/>
    <dgm:cxn modelId="{FF4A7801-F741-4C6F-A9EF-024980834710}" type="presParOf" srcId="{9A007C40-0438-4103-82D9-C7D8D41DE2FC}" destId="{D2FBAEB3-4DF1-4624-95AF-9CD01E0A0939}" srcOrd="1" destOrd="0" presId="urn:microsoft.com/office/officeart/2018/2/layout/IconLabelList"/>
    <dgm:cxn modelId="{8BF24E3B-92AB-4842-B30C-AF27B786C261}" type="presParOf" srcId="{9A007C40-0438-4103-82D9-C7D8D41DE2FC}" destId="{CA181470-4D0E-48CA-9561-41E1EBBF3DB2}" srcOrd="2" destOrd="0" presId="urn:microsoft.com/office/officeart/2018/2/layout/IconLabelList"/>
    <dgm:cxn modelId="{E475AED6-73E6-4912-BBE4-02B9056A6E0E}" type="presParOf" srcId="{B4D5DCD2-8EE4-4072-B041-C18A4F84C759}" destId="{DC02F629-84D5-45B7-9885-ED43076153F7}" srcOrd="3" destOrd="0" presId="urn:microsoft.com/office/officeart/2018/2/layout/IconLabelList"/>
    <dgm:cxn modelId="{8B4A860C-ED5D-4BC3-9521-131241CC4834}" type="presParOf" srcId="{B4D5DCD2-8EE4-4072-B041-C18A4F84C759}" destId="{52DA422F-BD03-4916-A14F-1C71F13E8A01}" srcOrd="4" destOrd="0" presId="urn:microsoft.com/office/officeart/2018/2/layout/IconLabelList"/>
    <dgm:cxn modelId="{97FDD462-7FA5-4FD2-9391-B93C347D66E0}" type="presParOf" srcId="{52DA422F-BD03-4916-A14F-1C71F13E8A01}" destId="{24FD44AD-E97E-4948-9AD7-677972F5C714}" srcOrd="0" destOrd="0" presId="urn:microsoft.com/office/officeart/2018/2/layout/IconLabelList"/>
    <dgm:cxn modelId="{6C53A8AD-869D-45C9-A41D-41E30A0A51CF}" type="presParOf" srcId="{52DA422F-BD03-4916-A14F-1C71F13E8A01}" destId="{CFD91BF7-34EB-40FA-8E72-974B197120B4}" srcOrd="1" destOrd="0" presId="urn:microsoft.com/office/officeart/2018/2/layout/IconLabelList"/>
    <dgm:cxn modelId="{D7CABE38-77F2-4DD8-996A-635B41F6F2B6}" type="presParOf" srcId="{52DA422F-BD03-4916-A14F-1C71F13E8A01}" destId="{9EB73481-905B-4CD6-B0C3-1A11CDAF18E1}" srcOrd="2" destOrd="0" presId="urn:microsoft.com/office/officeart/2018/2/layout/IconLabelList"/>
    <dgm:cxn modelId="{DB4ADBED-C287-44E5-8D6C-FA7A2DE4256E}" type="presParOf" srcId="{B4D5DCD2-8EE4-4072-B041-C18A4F84C759}" destId="{FA52CF0C-55D4-46A9-B8AB-512953FDFE15}" srcOrd="5" destOrd="0" presId="urn:microsoft.com/office/officeart/2018/2/layout/IconLabelList"/>
    <dgm:cxn modelId="{A4C771CC-E393-44B5-8106-0873AABF5E55}" type="presParOf" srcId="{B4D5DCD2-8EE4-4072-B041-C18A4F84C759}" destId="{7FA37DF1-9F8F-4A0E-8FE5-690453E4300D}" srcOrd="6" destOrd="0" presId="urn:microsoft.com/office/officeart/2018/2/layout/IconLabelList"/>
    <dgm:cxn modelId="{B09E9171-29FB-4B3B-B34B-77C546BB899B}" type="presParOf" srcId="{7FA37DF1-9F8F-4A0E-8FE5-690453E4300D}" destId="{EF7F1B9A-FBC5-455E-9228-E2ED00590728}" srcOrd="0" destOrd="0" presId="urn:microsoft.com/office/officeart/2018/2/layout/IconLabelList"/>
    <dgm:cxn modelId="{027325DF-812D-4675-AC15-A01F58AE9EA2}" type="presParOf" srcId="{7FA37DF1-9F8F-4A0E-8FE5-690453E4300D}" destId="{29265EDB-4A4E-495B-88E5-D4714BF274DE}" srcOrd="1" destOrd="0" presId="urn:microsoft.com/office/officeart/2018/2/layout/IconLabelList"/>
    <dgm:cxn modelId="{03374BAB-F57B-4677-BFA1-AF4D976F65EA}" type="presParOf" srcId="{7FA37DF1-9F8F-4A0E-8FE5-690453E4300D}" destId="{8E348A7E-8BFE-4F7C-99C0-C9772EA37135}" srcOrd="2" destOrd="0" presId="urn:microsoft.com/office/officeart/2018/2/layout/IconLabel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DB58F08-5493-41A9-9EC9-453038B4FC49}">
      <dsp:nvSpPr>
        <dsp:cNvPr id="0" name=""/>
        <dsp:cNvSpPr/>
      </dsp:nvSpPr>
      <dsp:spPr>
        <a:xfrm>
          <a:off x="751704" y="687163"/>
          <a:ext cx="923421" cy="923421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BE8A450-D189-41D1-9036-F04968296859}">
      <dsp:nvSpPr>
        <dsp:cNvPr id="0" name=""/>
        <dsp:cNvSpPr/>
      </dsp:nvSpPr>
      <dsp:spPr>
        <a:xfrm>
          <a:off x="187391" y="1972101"/>
          <a:ext cx="2052046" cy="11235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10668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2400" kern="1200"/>
            <a:t>Limpieza de Datos</a:t>
          </a:r>
          <a:endParaRPr lang="en-US" sz="2400" kern="1200"/>
        </a:p>
      </dsp:txBody>
      <dsp:txXfrm>
        <a:off x="187391" y="1972101"/>
        <a:ext cx="2052046" cy="1123593"/>
      </dsp:txXfrm>
    </dsp:sp>
    <dsp:sp modelId="{04263B80-24B7-489E-B55F-E86E369E24DF}">
      <dsp:nvSpPr>
        <dsp:cNvPr id="0" name=""/>
        <dsp:cNvSpPr/>
      </dsp:nvSpPr>
      <dsp:spPr>
        <a:xfrm>
          <a:off x="3265461" y="687163"/>
          <a:ext cx="923421" cy="923421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A181470-4D0E-48CA-9561-41E1EBBF3DB2}">
      <dsp:nvSpPr>
        <dsp:cNvPr id="0" name=""/>
        <dsp:cNvSpPr/>
      </dsp:nvSpPr>
      <dsp:spPr>
        <a:xfrm>
          <a:off x="2598546" y="1972101"/>
          <a:ext cx="2257251" cy="11235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10668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2400" kern="1200"/>
            <a:t>Conexión entre datos operativos y comerciales</a:t>
          </a:r>
          <a:endParaRPr lang="en-US" sz="2400" kern="1200"/>
        </a:p>
      </dsp:txBody>
      <dsp:txXfrm>
        <a:off x="2598546" y="1972101"/>
        <a:ext cx="2257251" cy="1123593"/>
      </dsp:txXfrm>
    </dsp:sp>
    <dsp:sp modelId="{24FD44AD-E97E-4948-9AD7-677972F5C714}">
      <dsp:nvSpPr>
        <dsp:cNvPr id="0" name=""/>
        <dsp:cNvSpPr/>
      </dsp:nvSpPr>
      <dsp:spPr>
        <a:xfrm>
          <a:off x="5779218" y="687163"/>
          <a:ext cx="923421" cy="923421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EB73481-905B-4CD6-B0C3-1A11CDAF18E1}">
      <dsp:nvSpPr>
        <dsp:cNvPr id="0" name=""/>
        <dsp:cNvSpPr/>
      </dsp:nvSpPr>
      <dsp:spPr>
        <a:xfrm>
          <a:off x="5214905" y="1972101"/>
          <a:ext cx="2052046" cy="11235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10668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2400" kern="1200"/>
            <a:t>Despliegue de la aplicación</a:t>
          </a:r>
          <a:endParaRPr lang="en-US" sz="2400" kern="1200"/>
        </a:p>
      </dsp:txBody>
      <dsp:txXfrm>
        <a:off x="5214905" y="1972101"/>
        <a:ext cx="2052046" cy="1123593"/>
      </dsp:txXfrm>
    </dsp:sp>
    <dsp:sp modelId="{EF7F1B9A-FBC5-455E-9228-E2ED00590728}">
      <dsp:nvSpPr>
        <dsp:cNvPr id="0" name=""/>
        <dsp:cNvSpPr/>
      </dsp:nvSpPr>
      <dsp:spPr>
        <a:xfrm>
          <a:off x="8190373" y="687163"/>
          <a:ext cx="923421" cy="923421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E348A7E-8BFE-4F7C-99C0-C9772EA37135}">
      <dsp:nvSpPr>
        <dsp:cNvPr id="0" name=""/>
        <dsp:cNvSpPr/>
      </dsp:nvSpPr>
      <dsp:spPr>
        <a:xfrm>
          <a:off x="7626060" y="1972101"/>
          <a:ext cx="2052046" cy="11235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10668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2400" kern="1200"/>
            <a:t>Medición del impacto del modelo</a:t>
          </a:r>
          <a:endParaRPr lang="en-US" sz="2400" kern="1200"/>
        </a:p>
      </dsp:txBody>
      <dsp:txXfrm>
        <a:off x="7626060" y="1972101"/>
        <a:ext cx="2052046" cy="112359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LabelList">
  <dgm:title val="Icon Label List"/>
  <dgm:desc val="Use to show non-sequential or grouped chunks of information accompanied by a related visuals. Works best with icons or small pictures with short text ca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  <dgm:param type="vertAlign" val="mid"/>
          <dgm:param type="horzAlign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  <dgm:param type="vertAlign" val="mid"/>
          <dgm:param type="horzAlign" val="ct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2">
        <dgm:constrLst>
          <dgm:constr type="h" for="ch" forName="compNode" refType="h" fact="0.4"/>
          <dgm:constr type="w" for="ch" forName="compNode" val="120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50"/>
          <dgm:constr type="h" for="des" forName="compNode" op="equ"/>
          <dgm:constr type="h" for="des" forName="textRect" op="equ"/>
        </dgm:constrLst>
      </dgm:if>
      <dgm:if name="Name5" axis="ch" ptType="node" func="cnt" op="lte" val="4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36"/>
          <dgm:constr type="h" for="des" forName="compNode" op="equ"/>
          <dgm:constr type="h" for="des" forName="textRect" op="equ"/>
        </dgm:constrLst>
      </dgm:if>
      <dgm:else name="Name6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24"/>
          <dgm:constr type="h" for="des" forName="compNode" op="equ"/>
          <dgm:constr type="h" for="des" forName="textRect" op="equ"/>
        </dgm:constrLst>
      </dgm:else>
    </dgm:choose>
    <dgm:ruleLst>
      <dgm:rule type="w" for="ch" forName="compNode" val="50" fact="NaN" max="NaN"/>
    </dgm:ruleLst>
    <dgm:forEach name="Name7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Rect" refType="w" fact="0.45"/>
          <dgm:constr type="h" for="ch" forName="iconRect" refType="w" refFor="ch" refForName="iconRect"/>
          <dgm:constr type="ctrX" for="ch" forName="iconRect" refType="w" fact="0.5"/>
          <dgm:constr type="t" for="ch" forName="iconRect"/>
          <dgm:constr type="h" for="ch" forName="spaceRect" refType="h" fact="0.15"/>
          <dgm:constr type="w" for="ch" forName="spaceRect" refType="w"/>
          <dgm:constr type="l" for="ch" forName="spaceRect"/>
          <dgm:constr type="t" for="ch" forName="spaceRect" refType="b" refFor="ch" refForName="iconRect"/>
          <dgm:constr type="h" for="ch" forName="textRect" val="20"/>
          <dgm:constr type="w" for="ch" forName="textRect" refType="w"/>
          <dgm:constr type="l" for="ch" forName="textRect"/>
          <dgm:constr type="t" for="ch" forName="textRect" refType="b" refFor="ch" refForName="spaceRect"/>
        </dgm:constrLst>
        <dgm:ruleLst>
          <dgm:rule type="h" val="INF" fact="NaN" max="NaN"/>
        </dgm:ruleLst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textRect" styleLbl="revTx">
          <dgm:varLst>
            <dgm:chMax val="1"/>
            <dgm:chPref val="1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1" fact="NaN" max="NaN"/>
            <dgm:rule type="h" val="INF" fact="NaN" max="NaN"/>
          </dgm:ruleLst>
        </dgm:layoutNode>
      </dgm:layoutNode>
      <dgm:forEach name="Name8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>
            <a:extLst>
              <a:ext uri="{FF2B5EF4-FFF2-40B4-BE49-F238E27FC236}">
                <a16:creationId xmlns:a16="http://schemas.microsoft.com/office/drawing/2014/main" id="{36652782-CF53-49C7-B3EC-4F576F4E958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D634139A-8032-49F8-ACA9-25A360179BD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58BDB3E-9773-4CD4-AA2B-3D4A6B024D6C}" type="datetimeFigureOut">
              <a:rPr lang="es-ES" smtClean="0"/>
              <a:t>02/12/2023</a:t>
            </a:fld>
            <a:endParaRPr lang="es-ES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93FC2B26-2A92-45EA-A147-3523DD09604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0BA435B3-C33C-4D73-9EAB-8F84C7B85BF0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3E0D6FB-9992-4CA8-AB5C-995F79E1901B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04112480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 noProof="0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7797F6-1CCD-40B9-8E56-A571822642AA}" type="datetimeFigureOut">
              <a:rPr lang="es-ES" noProof="0" smtClean="0"/>
              <a:t>02/12/2023</a:t>
            </a:fld>
            <a:endParaRPr lang="es-ES" noProof="0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 noProof="0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 noProof="0"/>
              <a:t>Editar estilos de texto del patrón</a:t>
            </a:r>
          </a:p>
          <a:p>
            <a:pPr lvl="1"/>
            <a:r>
              <a:rPr lang="es-ES" noProof="0"/>
              <a:t>Segundo nivel</a:t>
            </a:r>
          </a:p>
          <a:p>
            <a:pPr lvl="2"/>
            <a:r>
              <a:rPr lang="es-ES" noProof="0"/>
              <a:t>Tercer nivel</a:t>
            </a:r>
          </a:p>
          <a:p>
            <a:pPr lvl="3"/>
            <a:r>
              <a:rPr lang="es-ES" noProof="0"/>
              <a:t>Cuarto nivel</a:t>
            </a:r>
          </a:p>
          <a:p>
            <a:pPr lvl="4"/>
            <a:r>
              <a:rPr lang="es-ES" noProof="0"/>
              <a:t>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 noProof="0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518473-90E0-4B45-98EA-A3F0786B4560}" type="slidenum">
              <a:rPr lang="es-ES" noProof="0" smtClean="0"/>
              <a:t>‹Nº›</a:t>
            </a:fld>
            <a:endParaRPr lang="es-ES" noProof="0"/>
          </a:p>
        </p:txBody>
      </p:sp>
    </p:spTree>
    <p:extLst>
      <p:ext uri="{BB962C8B-B14F-4D97-AF65-F5344CB8AC3E}">
        <p14:creationId xmlns:p14="http://schemas.microsoft.com/office/powerpoint/2010/main" val="113189757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518473-90E0-4B45-98EA-A3F0786B4560}" type="slidenum">
              <a:rPr lang="es-ES" smtClean="0"/>
              <a:t>2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9587149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err="1">
                <a:ea typeface="Calibri"/>
                <a:cs typeface="Calibri"/>
              </a:rPr>
              <a:t>Promedio</a:t>
            </a:r>
            <a:r>
              <a:rPr lang="en-US">
                <a:ea typeface="Calibri"/>
                <a:cs typeface="Calibri"/>
              </a:rPr>
              <a:t> de </a:t>
            </a:r>
            <a:r>
              <a:rPr lang="en-US" err="1">
                <a:ea typeface="Calibri"/>
                <a:cs typeface="Calibri"/>
              </a:rPr>
              <a:t>ventas</a:t>
            </a:r>
            <a:r>
              <a:rPr lang="en-US">
                <a:ea typeface="Calibri"/>
                <a:cs typeface="Calibri"/>
              </a:rPr>
              <a:t> (</a:t>
            </a:r>
            <a:r>
              <a:rPr lang="en-US" err="1">
                <a:ea typeface="Calibri"/>
                <a:cs typeface="Calibri"/>
              </a:rPr>
              <a:t>valores</a:t>
            </a:r>
            <a:r>
              <a:rPr lang="en-US">
                <a:ea typeface="Calibri"/>
                <a:cs typeface="Calibri"/>
              </a:rPr>
              <a:t>)</a:t>
            </a:r>
          </a:p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518473-90E0-4B45-98EA-A3F0786B4560}" type="slidenum">
              <a:rPr lang="es-ES" noProof="0" smtClean="0"/>
              <a:t>4</a:t>
            </a:fld>
            <a:endParaRPr lang="es-ES" noProof="0"/>
          </a:p>
        </p:txBody>
      </p:sp>
    </p:spTree>
    <p:extLst>
      <p:ext uri="{BB962C8B-B14F-4D97-AF65-F5344CB8AC3E}">
        <p14:creationId xmlns:p14="http://schemas.microsoft.com/office/powerpoint/2010/main" val="30253782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57200" indent="-457200">
              <a:buAutoNum type="arabicPeriod"/>
            </a:pPr>
            <a:r>
              <a:rPr lang="es-ES">
                <a:ea typeface="Calibri"/>
                <a:cs typeface="Calibri" panose="020F0502020204030204"/>
              </a:rPr>
              <a:t>Limpieza de Datos</a:t>
            </a:r>
          </a:p>
          <a:p>
            <a:pPr marL="749300" lvl="1" indent="-457200">
              <a:buFont typeface="Courier New" panose="020F0502020204030204" pitchFamily="34" charset="0"/>
              <a:buChar char="o"/>
            </a:pPr>
            <a:r>
              <a:rPr lang="es-ES">
                <a:ea typeface="Calibri"/>
                <a:cs typeface="Calibri" panose="020F0502020204030204"/>
              </a:rPr>
              <a:t>(Hablar: Complicado trabajar con el cliente), solo un muelle (internacional)</a:t>
            </a:r>
          </a:p>
          <a:p>
            <a:pPr marL="457200" indent="-457200">
              <a:buAutoNum type="arabicPeriod"/>
            </a:pPr>
            <a:r>
              <a:rPr lang="es-ES">
                <a:ea typeface="Calibri"/>
                <a:cs typeface="Calibri" panose="020F0502020204030204"/>
              </a:rPr>
              <a:t>Conexión entre datos operativos y comerciales</a:t>
            </a:r>
          </a:p>
          <a:p>
            <a:pPr marL="749300" lvl="1" indent="-457200">
              <a:buFont typeface="Courier New" panose="020F0502020204030204" pitchFamily="34" charset="0"/>
              <a:buChar char="o"/>
            </a:pPr>
            <a:r>
              <a:rPr lang="es-ES">
                <a:ea typeface="Calibri"/>
                <a:cs typeface="Calibri" panose="020F0502020204030204"/>
              </a:rPr>
              <a:t>2 Marcas con datos faltantes</a:t>
            </a:r>
          </a:p>
          <a:p>
            <a:pPr marL="457200" indent="-457200">
              <a:buAutoNum type="arabicPeriod"/>
            </a:pPr>
            <a:r>
              <a:rPr lang="es-ES">
                <a:ea typeface="Calibri"/>
                <a:cs typeface="Calibri" panose="020F0502020204030204"/>
              </a:rPr>
              <a:t>Despliegue de la aplicación</a:t>
            </a:r>
          </a:p>
          <a:p>
            <a:pPr marL="749300" lvl="1" indent="-457200">
              <a:buFont typeface="Courier New"/>
              <a:buChar char="o"/>
            </a:pPr>
            <a:r>
              <a:rPr lang="es-ES">
                <a:ea typeface="Calibri"/>
                <a:cs typeface="Calibri" panose="020F0502020204030204"/>
              </a:rPr>
              <a:t>Falta de recursos </a:t>
            </a:r>
          </a:p>
          <a:p>
            <a:pPr marL="457200" indent="-457200">
              <a:buAutoNum type="arabicPeriod"/>
            </a:pPr>
            <a:r>
              <a:rPr lang="es-ES">
                <a:ea typeface="Calibri"/>
                <a:cs typeface="Calibri" panose="020F0502020204030204"/>
              </a:rPr>
              <a:t>Medición del impacto del modelo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518473-90E0-4B45-98EA-A3F0786B4560}" type="slidenum">
              <a:rPr lang="es-ES" noProof="0" smtClean="0"/>
              <a:t>5</a:t>
            </a:fld>
            <a:endParaRPr lang="es-ES" noProof="0"/>
          </a:p>
        </p:txBody>
      </p:sp>
    </p:spTree>
    <p:extLst>
      <p:ext uri="{BB962C8B-B14F-4D97-AF65-F5344CB8AC3E}">
        <p14:creationId xmlns:p14="http://schemas.microsoft.com/office/powerpoint/2010/main" val="14363629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" y="6400800"/>
            <a:ext cx="12192000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" y="6334316"/>
            <a:ext cx="12192000" cy="6648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758952"/>
            <a:ext cx="10058400" cy="3566160"/>
          </a:xfrm>
        </p:spPr>
        <p:txBody>
          <a:bodyPr anchor="b">
            <a:normAutofit/>
          </a:bodyPr>
          <a:lstStyle>
            <a:lvl1pPr algn="l">
              <a:lnSpc>
                <a:spcPct val="85000"/>
              </a:lnSpc>
              <a:defRPr sz="8000" spc="-5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00051" y="4455621"/>
            <a:ext cx="10058400" cy="1143000"/>
          </a:xfrm>
        </p:spPr>
        <p:txBody>
          <a:bodyPr lIns="91440" rIns="91440">
            <a:normAutofit/>
          </a:bodyPr>
          <a:lstStyle>
            <a:lvl1pPr marL="0" indent="0" algn="l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24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dirty="0"/>
              <a:t>12/2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Nº›</a:t>
            </a:fld>
            <a:endParaRPr lang="en-US"/>
          </a:p>
        </p:txBody>
      </p:sp>
      <p:cxnSp>
        <p:nvCxnSpPr>
          <p:cNvPr id="9" name="Straight Connector 8"/>
          <p:cNvCxnSpPr/>
          <p:nvPr/>
        </p:nvCxnSpPr>
        <p:spPr>
          <a:xfrm>
            <a:off x="1207658" y="4343400"/>
            <a:ext cx="98755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081947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lIns="45720" tIns="0" rIns="4572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dirty="0"/>
              <a:t>12/2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584086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412302"/>
            <a:ext cx="2628900" cy="575989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412302"/>
            <a:ext cx="7734300" cy="5759898"/>
          </a:xfrm>
        </p:spPr>
        <p:txBody>
          <a:bodyPr vert="eaVert" lIns="45720" tIns="0" rIns="4572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dirty="0"/>
              <a:t>12/2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989154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2CEF3B-A037-46D0-B02C-1428F07E9383}" type="datetimeFigureOut">
              <a:rPr lang="en-US" dirty="0"/>
              <a:t>12/2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E482DC-2269-4F26-9D2A-7E44B1A4CD85}" type="slidenum">
              <a:rPr lang="en-US" dirty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21418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758952"/>
            <a:ext cx="10058400" cy="3566160"/>
          </a:xfrm>
        </p:spPr>
        <p:txBody>
          <a:bodyPr anchor="b" anchorCtr="0">
            <a:normAutofit/>
          </a:bodyPr>
          <a:lstStyle>
            <a:lvl1pPr>
              <a:lnSpc>
                <a:spcPct val="85000"/>
              </a:lnSpc>
              <a:defRPr sz="8000" b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4453128"/>
            <a:ext cx="10058400" cy="1143000"/>
          </a:xfrm>
        </p:spPr>
        <p:txBody>
          <a:bodyPr lIns="91440" rIns="91440" anchor="t" anchorCtr="0">
            <a:normAutofit/>
          </a:bodyPr>
          <a:lstStyle>
            <a:lvl1pPr marL="0" indent="0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dirty="0"/>
              <a:t>12/2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Nº›</a:t>
            </a:fld>
            <a:endParaRPr lang="en-US"/>
          </a:p>
        </p:txBody>
      </p:sp>
      <p:cxnSp>
        <p:nvCxnSpPr>
          <p:cNvPr id="9" name="Straight Connector 8"/>
          <p:cNvCxnSpPr/>
          <p:nvPr/>
        </p:nvCxnSpPr>
        <p:spPr>
          <a:xfrm>
            <a:off x="1207658" y="4343400"/>
            <a:ext cx="98755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475947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97280" y="1845734"/>
            <a:ext cx="4937760" cy="402335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17920" y="1845735"/>
            <a:ext cx="493776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dirty="0"/>
              <a:t>12/2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73970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1846052"/>
            <a:ext cx="493776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97280" y="2582335"/>
            <a:ext cx="4937760" cy="32867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17920" y="1846052"/>
            <a:ext cx="493776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17920" y="2582334"/>
            <a:ext cx="4937760" cy="32867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dirty="0"/>
              <a:t>12/2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925279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dirty="0"/>
              <a:t>12/2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98093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" name="Rectangle 5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dirty="0"/>
              <a:pPr/>
              <a:t>12/2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650226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6" y="0"/>
            <a:ext cx="405079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4040071" y="0"/>
            <a:ext cx="64008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94359"/>
            <a:ext cx="3200400" cy="2286000"/>
          </a:xfrm>
        </p:spPr>
        <p:txBody>
          <a:bodyPr anchor="b">
            <a:norm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00600" y="731520"/>
            <a:ext cx="6492240" cy="5257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2926080"/>
            <a:ext cx="3200400" cy="3379124"/>
          </a:xfrm>
        </p:spPr>
        <p:txBody>
          <a:bodyPr lIns="91440" rIns="91440">
            <a:norm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65512" y="6459785"/>
            <a:ext cx="2618510" cy="365125"/>
          </a:xfrm>
        </p:spPr>
        <p:txBody>
          <a:bodyPr/>
          <a:lstStyle>
            <a:lvl1pPr algn="l">
              <a:defRPr/>
            </a:lvl1pPr>
          </a:lstStyle>
          <a:p>
            <a:fld id="{96DFF08F-DC6B-4601-B491-B0F83F6DD2DA}" type="datetimeFigureOut">
              <a:rPr lang="en-US" dirty="0"/>
              <a:pPr/>
              <a:t>12/2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800600" y="6459785"/>
            <a:ext cx="4648200" cy="365125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4FAB73BC-B049-4115-A692-8D63A059BFB8}" type="slidenum">
              <a:rPr lang="en-US" dirty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9669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4953000"/>
            <a:ext cx="12188825" cy="1905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15" y="491507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5074920"/>
            <a:ext cx="10113645" cy="822960"/>
          </a:xfrm>
        </p:spPr>
        <p:txBody>
          <a:bodyPr tIns="0" bIns="0" anchor="b">
            <a:no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5" y="0"/>
            <a:ext cx="12191985" cy="4915076"/>
          </a:xfrm>
          <a:solidFill>
            <a:schemeClr val="bg2">
              <a:lumMod val="90000"/>
            </a:schemeClr>
          </a:solidFill>
        </p:spPr>
        <p:txBody>
          <a:bodyPr lIns="457200" tIns="457200"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97280" y="5907024"/>
            <a:ext cx="10113264" cy="594360"/>
          </a:xfrm>
        </p:spPr>
        <p:txBody>
          <a:bodyPr lIns="91440" tIns="0" rIns="9144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dirty="0"/>
              <a:t>12/2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34067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58D1FE1C-58C5-8237-329B-C2949C37DA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0337396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6" progId="TCLayout.ActiveDocument.1">
                  <p:embed/>
                </p:oleObj>
              </mc:Choice>
              <mc:Fallback>
                <p:oleObj name="think-cell Slide" r:id="rId14" imgW="395" imgH="396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D1FE1C-58C5-8237-329B-C2949C37DA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1845734"/>
            <a:ext cx="10058400" cy="402336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rgbClr val="FFFFFF"/>
                </a:solidFill>
              </a:defRPr>
            </a:lvl1pPr>
          </a:lstStyle>
          <a:p>
            <a:fld id="{96DFF08F-DC6B-4601-B491-B0F83F6DD2DA}" type="datetimeFigureOut">
              <a:rPr lang="en-US" dirty="0"/>
              <a:pPr/>
              <a:t>12/2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86185" y="6459785"/>
            <a:ext cx="48228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cap="all" baseline="0"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rgbClr val="FFFFFF"/>
                </a:solidFill>
              </a:defRPr>
            </a:lvl1pPr>
          </a:lstStyle>
          <a:p>
            <a:fld id="{4FAB73BC-B049-4115-A692-8D63A059BFB8}" type="slidenum">
              <a:rPr lang="en-US" dirty="0"/>
              <a:pPr/>
              <a:t>‹Nº›</a:t>
            </a:fld>
            <a:endParaRPr lang="en-US"/>
          </a:p>
        </p:txBody>
      </p:sp>
      <p:cxnSp>
        <p:nvCxnSpPr>
          <p:cNvPr id="10" name="Straight Connector 9"/>
          <p:cNvCxnSpPr/>
          <p:nvPr/>
        </p:nvCxnSpPr>
        <p:spPr>
          <a:xfrm>
            <a:off x="1193532" y="1737845"/>
            <a:ext cx="996696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377872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  <p:sldLayoutId id="2147483749" r:id="rId5"/>
    <p:sldLayoutId id="2147483750" r:id="rId6"/>
    <p:sldLayoutId id="2147483751" r:id="rId7"/>
    <p:sldLayoutId id="2147483752" r:id="rId8"/>
    <p:sldLayoutId id="2147483753" r:id="rId9"/>
    <p:sldLayoutId id="2147483754" r:id="rId10"/>
    <p:sldLayoutId id="2147483755" r:id="rId11"/>
  </p:sldLayoutIdLst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4800" kern="1200" spc="-50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38404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56692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74980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93268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1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3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5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7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video" Target="https://www.youtube.com/embed/IY4jQ_enb5I?feature=oembed" TargetMode="External"/><Relationship Id="rId4" Type="http://schemas.openxmlformats.org/officeDocument/2006/relationships/image" Target="../media/image2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1D1E779-D227-90AE-B928-E4A2512436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>
                <a:cs typeface="Calibri Light"/>
              </a:rPr>
              <a:t>¿Por qué esta solución?</a:t>
            </a:r>
          </a:p>
        </p:txBody>
      </p:sp>
      <p:sp>
        <p:nvSpPr>
          <p:cNvPr id="642" name="CuadroTexto 641">
            <a:extLst>
              <a:ext uri="{FF2B5EF4-FFF2-40B4-BE49-F238E27FC236}">
                <a16:creationId xmlns:a16="http://schemas.microsoft.com/office/drawing/2014/main" id="{24FD667F-8CE4-983C-8BEE-ED46C5F04F28}"/>
              </a:ext>
            </a:extLst>
          </p:cNvPr>
          <p:cNvSpPr txBox="1"/>
          <p:nvPr/>
        </p:nvSpPr>
        <p:spPr>
          <a:xfrm>
            <a:off x="1243989" y="2061071"/>
            <a:ext cx="9704022" cy="4616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s-ES" sz="2400" b="1">
                <a:cs typeface="Calibri"/>
              </a:rPr>
              <a:t>Problema: </a:t>
            </a:r>
            <a:r>
              <a:rPr lang="es-ES" sz="2400">
                <a:cs typeface="Calibri"/>
              </a:rPr>
              <a:t>“No sabemos cómo decisiones operativas impactan mis ventas”</a:t>
            </a:r>
            <a:endParaRPr lang="es-ES" sz="240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AC888AB-61B2-E368-9EA2-4084E65C6238}"/>
              </a:ext>
            </a:extLst>
          </p:cNvPr>
          <p:cNvGrpSpPr/>
          <p:nvPr/>
        </p:nvGrpSpPr>
        <p:grpSpPr>
          <a:xfrm>
            <a:off x="1243989" y="3278319"/>
            <a:ext cx="9704023" cy="2554998"/>
            <a:chOff x="1347823" y="3121458"/>
            <a:chExt cx="9704023" cy="2111568"/>
          </a:xfrm>
        </p:grpSpPr>
        <p:sp>
          <p:nvSpPr>
            <p:cNvPr id="637" name="Rectángulo 636">
              <a:extLst>
                <a:ext uri="{FF2B5EF4-FFF2-40B4-BE49-F238E27FC236}">
                  <a16:creationId xmlns:a16="http://schemas.microsoft.com/office/drawing/2014/main" id="{30AF34D6-6C45-A72E-F3DA-315FD12A1987}"/>
                </a:ext>
              </a:extLst>
            </p:cNvPr>
            <p:cNvSpPr/>
            <p:nvPr/>
          </p:nvSpPr>
          <p:spPr>
            <a:xfrm>
              <a:off x="4541993" y="3121458"/>
              <a:ext cx="3315681" cy="85380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 rtl="0">
                <a:defRPr lang="es-E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s-ES" b="1">
                  <a:solidFill>
                    <a:srgbClr val="050505"/>
                  </a:solidFill>
                  <a:ea typeface="Segoe UI Historic"/>
                  <a:cs typeface="Segoe UI Historic"/>
                </a:rPr>
                <a:t>Predicciones</a:t>
              </a:r>
              <a:endParaRPr lang="es-ES" sz="3200" b="1"/>
            </a:p>
            <a:p>
              <a:pPr algn="ctr"/>
              <a:r>
                <a:rPr lang="es-ES">
                  <a:solidFill>
                    <a:srgbClr val="050505"/>
                  </a:solidFill>
                  <a:ea typeface="Segoe UI Historic"/>
                  <a:cs typeface="Segoe UI Historic"/>
                </a:rPr>
                <a:t>¿Cuánto venderé?</a:t>
              </a:r>
            </a:p>
          </p:txBody>
        </p:sp>
        <p:sp>
          <p:nvSpPr>
            <p:cNvPr id="638" name="Rectángulo 637">
              <a:extLst>
                <a:ext uri="{FF2B5EF4-FFF2-40B4-BE49-F238E27FC236}">
                  <a16:creationId xmlns:a16="http://schemas.microsoft.com/office/drawing/2014/main" id="{4CCE8E2F-C3DC-5FD9-914C-ED67AD4A87C8}"/>
                </a:ext>
              </a:extLst>
            </p:cNvPr>
            <p:cNvSpPr/>
            <p:nvPr/>
          </p:nvSpPr>
          <p:spPr>
            <a:xfrm>
              <a:off x="4541995" y="4379218"/>
              <a:ext cx="3315681" cy="85380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>
              <a:defPPr rtl="0">
                <a:defRPr lang="es-E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s-ES" b="1">
                  <a:solidFill>
                    <a:srgbClr val="050505"/>
                  </a:solidFill>
                  <a:ea typeface="Segoe UI Historic"/>
                  <a:cs typeface="Segoe UI Historic"/>
                </a:rPr>
                <a:t>Relaciones entre variables</a:t>
              </a:r>
            </a:p>
            <a:p>
              <a:pPr algn="ctr"/>
              <a:r>
                <a:rPr lang="es-ES">
                  <a:solidFill>
                    <a:srgbClr val="050505"/>
                  </a:solidFill>
                  <a:ea typeface="Segoe UI Historic"/>
                  <a:cs typeface="Segoe UI Historic"/>
                </a:rPr>
                <a:t>¿A qué hora debería programar el vuelo para vender más? </a:t>
              </a:r>
            </a:p>
          </p:txBody>
        </p:sp>
        <p:sp>
          <p:nvSpPr>
            <p:cNvPr id="639" name="Rectángulo 638">
              <a:extLst>
                <a:ext uri="{FF2B5EF4-FFF2-40B4-BE49-F238E27FC236}">
                  <a16:creationId xmlns:a16="http://schemas.microsoft.com/office/drawing/2014/main" id="{768627AF-901B-5059-C0BF-D33BE088F5CF}"/>
                </a:ext>
              </a:extLst>
            </p:cNvPr>
            <p:cNvSpPr/>
            <p:nvPr/>
          </p:nvSpPr>
          <p:spPr>
            <a:xfrm>
              <a:off x="8871732" y="3750338"/>
              <a:ext cx="2180114" cy="853808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>
              <a:defPPr rtl="0">
                <a:defRPr lang="es-E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s-ES" b="1">
                  <a:solidFill>
                    <a:srgbClr val="050505"/>
                  </a:solidFill>
                  <a:ea typeface="Segoe UI Historic"/>
                  <a:cs typeface="Segoe UI Historic"/>
                </a:rPr>
                <a:t>Toma de Decisiones Basadas en Datos</a:t>
              </a:r>
              <a:endParaRPr lang="es-ES" sz="3200" b="1"/>
            </a:p>
          </p:txBody>
        </p:sp>
        <p:sp>
          <p:nvSpPr>
            <p:cNvPr id="640" name="Flecha: a la derecha 639">
              <a:extLst>
                <a:ext uri="{FF2B5EF4-FFF2-40B4-BE49-F238E27FC236}">
                  <a16:creationId xmlns:a16="http://schemas.microsoft.com/office/drawing/2014/main" id="{465DA1D8-EF4A-78AB-68F2-328880179C3A}"/>
                </a:ext>
              </a:extLst>
            </p:cNvPr>
            <p:cNvSpPr/>
            <p:nvPr/>
          </p:nvSpPr>
          <p:spPr>
            <a:xfrm>
              <a:off x="8007280" y="4002809"/>
              <a:ext cx="714843" cy="348867"/>
            </a:xfrm>
            <a:prstGeom prst="rightArrow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 rtl="0">
                <a:defRPr lang="es-E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s-ES" sz="3200"/>
            </a:p>
          </p:txBody>
        </p:sp>
        <p:sp>
          <p:nvSpPr>
            <p:cNvPr id="3" name="Rectángulo 638">
              <a:extLst>
                <a:ext uri="{FF2B5EF4-FFF2-40B4-BE49-F238E27FC236}">
                  <a16:creationId xmlns:a16="http://schemas.microsoft.com/office/drawing/2014/main" id="{BEF451FF-4D10-744A-E3DE-2E3D0597516D}"/>
                </a:ext>
              </a:extLst>
            </p:cNvPr>
            <p:cNvSpPr/>
            <p:nvPr/>
          </p:nvSpPr>
          <p:spPr>
            <a:xfrm>
              <a:off x="1347823" y="3750338"/>
              <a:ext cx="2180115" cy="85380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>
              <a:defPPr rtl="0">
                <a:defRPr lang="es-E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s-ES">
                  <a:solidFill>
                    <a:srgbClr val="050505"/>
                  </a:solidFill>
                  <a:ea typeface="Segoe UI Historic"/>
                  <a:cs typeface="Segoe UI Historic"/>
                </a:rPr>
                <a:t>Modelo</a:t>
              </a:r>
              <a:endParaRPr lang="es-ES" sz="3200"/>
            </a:p>
          </p:txBody>
        </p:sp>
        <p:sp>
          <p:nvSpPr>
            <p:cNvPr id="5" name="Flecha: a la derecha 639">
              <a:extLst>
                <a:ext uri="{FF2B5EF4-FFF2-40B4-BE49-F238E27FC236}">
                  <a16:creationId xmlns:a16="http://schemas.microsoft.com/office/drawing/2014/main" id="{2A6C1516-4E20-3ED9-371C-881C201FCB51}"/>
                </a:ext>
              </a:extLst>
            </p:cNvPr>
            <p:cNvSpPr/>
            <p:nvPr/>
          </p:nvSpPr>
          <p:spPr>
            <a:xfrm>
              <a:off x="3677544" y="4002809"/>
              <a:ext cx="714843" cy="348867"/>
            </a:xfrm>
            <a:prstGeom prst="rightArrow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 rtl="0">
                <a:defRPr lang="es-E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s-ES" sz="3200"/>
            </a:p>
          </p:txBody>
        </p:sp>
      </p:grpSp>
      <p:sp>
        <p:nvSpPr>
          <p:cNvPr id="7" name="CuadroTexto 641">
            <a:extLst>
              <a:ext uri="{FF2B5EF4-FFF2-40B4-BE49-F238E27FC236}">
                <a16:creationId xmlns:a16="http://schemas.microsoft.com/office/drawing/2014/main" id="{40A1CA7A-18FC-B47D-20FD-F3A929764CB1}"/>
              </a:ext>
            </a:extLst>
          </p:cNvPr>
          <p:cNvSpPr txBox="1"/>
          <p:nvPr/>
        </p:nvSpPr>
        <p:spPr>
          <a:xfrm>
            <a:off x="1243989" y="2802803"/>
            <a:ext cx="9704022" cy="4616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s-ES" sz="2400" b="1">
                <a:cs typeface="Calibri"/>
              </a:rPr>
              <a:t>Solución:</a:t>
            </a:r>
            <a:endParaRPr lang="es-ES" sz="2400" b="1"/>
          </a:p>
        </p:txBody>
      </p:sp>
    </p:spTree>
    <p:extLst>
      <p:ext uri="{BB962C8B-B14F-4D97-AF65-F5344CB8AC3E}">
        <p14:creationId xmlns:p14="http://schemas.microsoft.com/office/powerpoint/2010/main" val="277752388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0" name="Straight Connector 17">
            <a:extLst>
              <a:ext uri="{FF2B5EF4-FFF2-40B4-BE49-F238E27FC236}">
                <a16:creationId xmlns:a16="http://schemas.microsoft.com/office/drawing/2014/main" id="{F3CC58E3-BDF9-495D-9327-85F68058BE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1207658" y="4343400"/>
            <a:ext cx="9875520" cy="0"/>
          </a:xfrm>
          <a:prstGeom prst="line">
            <a:avLst/>
          </a:prstGeom>
          <a:ln w="6350">
            <a:solidFill>
              <a:schemeClr val="tx1">
                <a:alpha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19">
            <a:extLst>
              <a:ext uri="{FF2B5EF4-FFF2-40B4-BE49-F238E27FC236}">
                <a16:creationId xmlns:a16="http://schemas.microsoft.com/office/drawing/2014/main" id="{DA0CA737-33FC-47E3-965A-D1C2CAA628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" y="6334316"/>
            <a:ext cx="12191985" cy="66484"/>
          </a:xfrm>
          <a:prstGeom prst="rect">
            <a:avLst/>
          </a:prstGeom>
          <a:solidFill>
            <a:srgbClr val="FE3A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32" name="Rectangle 21">
            <a:extLst>
              <a:ext uri="{FF2B5EF4-FFF2-40B4-BE49-F238E27FC236}">
                <a16:creationId xmlns:a16="http://schemas.microsoft.com/office/drawing/2014/main" id="{22189942-24EB-488E-8B69-EB80F7E53E3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6400800"/>
            <a:ext cx="12192000" cy="457200"/>
          </a:xfrm>
          <a:prstGeom prst="rect">
            <a:avLst/>
          </a:prstGeom>
          <a:solidFill>
            <a:srgbClr val="9149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pic>
        <p:nvPicPr>
          <p:cNvPr id="5" name="Elementos multimedia en línea 4" title="App">
            <a:hlinkClick r:id="" action="ppaction://media"/>
            <a:extLst>
              <a:ext uri="{FF2B5EF4-FFF2-40B4-BE49-F238E27FC236}">
                <a16:creationId xmlns:a16="http://schemas.microsoft.com/office/drawing/2014/main" id="{A2A9635B-E2A3-9335-B700-7E4B1DF0AB2B}"/>
              </a:ext>
            </a:extLst>
          </p:cNvPr>
          <p:cNvPicPr>
            <a:picLocks noRot="1" noChangeAspect="1"/>
          </p:cNvPicPr>
          <p:nvPr>
            <a:videoFile r:link="rId1"/>
          </p:nvPr>
        </p:nvPicPr>
        <p:blipFill>
          <a:blip r:embed="rId4"/>
          <a:stretch>
            <a:fillRect/>
          </a:stretch>
        </p:blipFill>
        <p:spPr>
          <a:xfrm>
            <a:off x="1241425" y="685800"/>
            <a:ext cx="9710738" cy="548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44402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tangle 51">
            <a:extLst>
              <a:ext uri="{FF2B5EF4-FFF2-40B4-BE49-F238E27FC236}">
                <a16:creationId xmlns:a16="http://schemas.microsoft.com/office/drawing/2014/main" id="{F240A2FC-E2C3-458D-96B4-5DF9028D93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6400800"/>
            <a:ext cx="12192000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53" name="Rectangle 53">
            <a:extLst>
              <a:ext uri="{FF2B5EF4-FFF2-40B4-BE49-F238E27FC236}">
                <a16:creationId xmlns:a16="http://schemas.microsoft.com/office/drawing/2014/main" id="{5F097929-F3D6-4D1F-8AFC-CF348171A9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6334316"/>
            <a:ext cx="12192000" cy="6648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cxnSp>
        <p:nvCxnSpPr>
          <p:cNvPr id="55" name="Straight Connector 55">
            <a:extLst>
              <a:ext uri="{FF2B5EF4-FFF2-40B4-BE49-F238E27FC236}">
                <a16:creationId xmlns:a16="http://schemas.microsoft.com/office/drawing/2014/main" id="{43074C91-9045-414B-B5F9-567DAE3EED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1207658" y="4343400"/>
            <a:ext cx="98755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57" name="Rectangle 57">
            <a:extLst>
              <a:ext uri="{FF2B5EF4-FFF2-40B4-BE49-F238E27FC236}">
                <a16:creationId xmlns:a16="http://schemas.microsoft.com/office/drawing/2014/main" id="{33428ACC-71EC-4171-9527-10983BA6B4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1" cy="63343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F51B466E-23E5-41B9-E52C-D01FF08E67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41110" y="639097"/>
            <a:ext cx="3401961" cy="3686015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5100">
                <a:solidFill>
                  <a:schemeClr val="tx1">
                    <a:lumMod val="85000"/>
                    <a:lumOff val="15000"/>
                  </a:schemeClr>
                </a:solidFill>
              </a:rPr>
              <a:t>Arquitectura de Solución</a:t>
            </a:r>
          </a:p>
        </p:txBody>
      </p:sp>
      <p:pic>
        <p:nvPicPr>
          <p:cNvPr id="3" name="Marcador de contenido 2" descr="Interfaz de usuario gráfica&#10;&#10;Descripción generada automáticamente">
            <a:extLst>
              <a:ext uri="{FF2B5EF4-FFF2-40B4-BE49-F238E27FC236}">
                <a16:creationId xmlns:a16="http://schemas.microsoft.com/office/drawing/2014/main" id="{51F8BDD7-E4B9-5DA5-6093-ABF3CB24D8E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676" r="2063" b="-169"/>
          <a:stretch/>
        </p:blipFill>
        <p:spPr>
          <a:xfrm>
            <a:off x="699226" y="357859"/>
            <a:ext cx="6922874" cy="5731489"/>
          </a:xfrm>
          <a:prstGeom prst="rect">
            <a:avLst/>
          </a:prstGeom>
        </p:spPr>
      </p:pic>
      <p:cxnSp>
        <p:nvCxnSpPr>
          <p:cNvPr id="59" name="Straight Connector 59">
            <a:extLst>
              <a:ext uri="{FF2B5EF4-FFF2-40B4-BE49-F238E27FC236}">
                <a16:creationId xmlns:a16="http://schemas.microsoft.com/office/drawing/2014/main" id="{BA22713B-ABB6-4391-97F9-0449A2B9B6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8209305" y="4343400"/>
            <a:ext cx="3200400" cy="0"/>
          </a:xfrm>
          <a:prstGeom prst="line">
            <a:avLst/>
          </a:prstGeom>
          <a:ln w="6350">
            <a:solidFill>
              <a:schemeClr val="tx2">
                <a:alpha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tangle 61">
            <a:extLst>
              <a:ext uri="{FF2B5EF4-FFF2-40B4-BE49-F238E27FC236}">
                <a16:creationId xmlns:a16="http://schemas.microsoft.com/office/drawing/2014/main" id="{2B9BBBC4-97A3-47D2-BFFE-A68530CDB9D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" y="6334316"/>
            <a:ext cx="12191985" cy="66484"/>
          </a:xfrm>
          <a:prstGeom prst="rect">
            <a:avLst/>
          </a:prstGeom>
          <a:solidFill>
            <a:srgbClr val="168D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78967BEA-EA6A-4FF1-94E2-B010B61A36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6400800"/>
            <a:ext cx="12192000" cy="457200"/>
          </a:xfrm>
          <a:prstGeom prst="rect">
            <a:avLst/>
          </a:prstGeom>
          <a:solidFill>
            <a:srgbClr val="566F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95629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58331D47-DE7A-4F51-9D59-FD68F3BDD20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6400800"/>
            <a:ext cx="12192000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DEDC60-6312-4214-B219-E46479D7E13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6334316"/>
            <a:ext cx="12192000" cy="6648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D92A1B31-DB63-435D-93E6-9712CDFB20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1207658" y="4343400"/>
            <a:ext cx="98755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25" name="Rectangle 24">
            <a:extLst>
              <a:ext uri="{FF2B5EF4-FFF2-40B4-BE49-F238E27FC236}">
                <a16:creationId xmlns:a16="http://schemas.microsoft.com/office/drawing/2014/main" id="{66B8738D-6184-4200-93C8-A38B49E39D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1" cy="63343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9F065D6C-2477-9438-FF10-0F3F8E1E0D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999" y="4550229"/>
            <a:ext cx="5437363" cy="1066835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5400" err="1">
                <a:solidFill>
                  <a:schemeClr val="tx1">
                    <a:lumMod val="85000"/>
                    <a:lumOff val="15000"/>
                  </a:schemeClr>
                </a:solidFill>
              </a:rPr>
              <a:t>Resultados</a:t>
            </a:r>
            <a:endParaRPr lang="en-US" sz="5400" err="1">
              <a:solidFill>
                <a:schemeClr val="tx1">
                  <a:lumMod val="85000"/>
                  <a:lumOff val="15000"/>
                </a:schemeClr>
              </a:solidFill>
              <a:cs typeface="Calibri Light"/>
            </a:endParaRPr>
          </a:p>
        </p:txBody>
      </p:sp>
      <p:pic>
        <p:nvPicPr>
          <p:cNvPr id="14" name="Imagen 13" descr="Gráfico, Gráfico en cascada&#10;&#10;Descripción generada automáticamente">
            <a:extLst>
              <a:ext uri="{FF2B5EF4-FFF2-40B4-BE49-F238E27FC236}">
                <a16:creationId xmlns:a16="http://schemas.microsoft.com/office/drawing/2014/main" id="{FAE543C2-67D1-3F6B-D6A2-043FAAEC183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5457" y="780075"/>
            <a:ext cx="5131653" cy="3322745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5B73017D-B127-4D47-BB33-0DA52359F5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063996" y="886968"/>
            <a:ext cx="64008" cy="31089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Imagen 12" descr="Gráfico, Gráfico de barras, Gráfico en cascada&#10;&#10;Descripción generada automáticamente">
            <a:extLst>
              <a:ext uri="{FF2B5EF4-FFF2-40B4-BE49-F238E27FC236}">
                <a16:creationId xmlns:a16="http://schemas.microsoft.com/office/drawing/2014/main" id="{6DD8A769-22EF-3429-E560-ED0A6D45C98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24891" y="758846"/>
            <a:ext cx="5118182" cy="3365204"/>
          </a:xfrm>
          <a:prstGeom prst="rect">
            <a:avLst/>
          </a:prstGeom>
        </p:spPr>
      </p:pic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C2B7B8EB-0638-43BD-9A64-62F95F5054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721086" y="5618770"/>
            <a:ext cx="10515600" cy="0"/>
          </a:xfrm>
          <a:prstGeom prst="line">
            <a:avLst/>
          </a:prstGeom>
          <a:ln w="6350">
            <a:solidFill>
              <a:schemeClr val="tx2">
                <a:alpha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>
            <a:extLst>
              <a:ext uri="{FF2B5EF4-FFF2-40B4-BE49-F238E27FC236}">
                <a16:creationId xmlns:a16="http://schemas.microsoft.com/office/drawing/2014/main" id="{C1AD70F9-2AA8-40AD-81F2-0D7BC881C9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" y="6334316"/>
            <a:ext cx="12191985" cy="66484"/>
          </a:xfrm>
          <a:prstGeom prst="rect">
            <a:avLst/>
          </a:prstGeom>
          <a:solidFill>
            <a:srgbClr val="438A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A95E83E-3C35-4C05-B1FC-CBF86CCB7C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6400800"/>
            <a:ext cx="12192000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B4D122C3-D4A3-F81A-6F4B-9DCB218E64A5}"/>
              </a:ext>
            </a:extLst>
          </p:cNvPr>
          <p:cNvSpPr txBox="1"/>
          <p:nvPr/>
        </p:nvSpPr>
        <p:spPr>
          <a:xfrm>
            <a:off x="1006678" y="221854"/>
            <a:ext cx="4645403" cy="37750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s-ES">
                <a:cs typeface="Calibri"/>
              </a:rPr>
              <a:t>MAE en entrenamiento y prueba</a:t>
            </a:r>
            <a:endParaRPr lang="es-ES"/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AAAA94B8-AEF9-5F7A-06A0-4FE3BE754417}"/>
              </a:ext>
            </a:extLst>
          </p:cNvPr>
          <p:cNvSpPr txBox="1"/>
          <p:nvPr/>
        </p:nvSpPr>
        <p:spPr>
          <a:xfrm>
            <a:off x="6781099" y="221853"/>
            <a:ext cx="4645403" cy="37750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s-ES">
                <a:cs typeface="Calibri"/>
              </a:rPr>
              <a:t>R2 en entrenamiento y prueba</a:t>
            </a:r>
            <a:endParaRPr lang="es-ES"/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id="{D555E409-A75C-95C8-737B-D84409BFEA5F}"/>
              </a:ext>
            </a:extLst>
          </p:cNvPr>
          <p:cNvSpPr/>
          <p:nvPr/>
        </p:nvSpPr>
        <p:spPr>
          <a:xfrm>
            <a:off x="4477624" y="2946633"/>
            <a:ext cx="1300293" cy="1090568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CCBDA53B-EE6A-59CA-8AD5-50179CFF1C03}"/>
              </a:ext>
            </a:extLst>
          </p:cNvPr>
          <p:cNvSpPr/>
          <p:nvPr/>
        </p:nvSpPr>
        <p:spPr>
          <a:xfrm>
            <a:off x="10196119" y="975220"/>
            <a:ext cx="1300293" cy="3124899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6B471F07-17CF-EDEB-A177-C7DCA0E42E95}"/>
              </a:ext>
            </a:extLst>
          </p:cNvPr>
          <p:cNvSpPr txBox="1"/>
          <p:nvPr/>
        </p:nvSpPr>
        <p:spPr>
          <a:xfrm>
            <a:off x="4420518" y="2474204"/>
            <a:ext cx="1358745" cy="49244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s-ES" sz="1600" b="1">
                <a:cs typeface="Calibri"/>
              </a:rPr>
              <a:t>4X</a:t>
            </a:r>
            <a:r>
              <a:rPr lang="es-ES" sz="1600">
                <a:cs typeface="Calibri"/>
              </a:rPr>
              <a:t> menos</a:t>
            </a:r>
          </a:p>
          <a:p>
            <a:pPr algn="ctr"/>
            <a:r>
              <a:rPr lang="es-ES" sz="1000">
                <a:cs typeface="Calibri"/>
              </a:rPr>
              <a:t>Vs </a:t>
            </a:r>
            <a:r>
              <a:rPr lang="es-ES" sz="1000" err="1">
                <a:cs typeface="Calibri"/>
              </a:rPr>
              <a:t>Baseline</a:t>
            </a:r>
            <a:endParaRPr lang="es-ES" sz="1600" err="1">
              <a:cs typeface="Calibri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8806CFF9-B769-A63E-3037-2A7DC4CFAB4E}"/>
              </a:ext>
            </a:extLst>
          </p:cNvPr>
          <p:cNvSpPr txBox="1"/>
          <p:nvPr/>
        </p:nvSpPr>
        <p:spPr>
          <a:xfrm>
            <a:off x="10149288" y="518709"/>
            <a:ext cx="1358745" cy="49244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s-ES" sz="1600" b="1">
                <a:cs typeface="Calibri"/>
              </a:rPr>
              <a:t>5X </a:t>
            </a:r>
            <a:r>
              <a:rPr lang="es-ES" sz="1600">
                <a:cs typeface="Calibri"/>
              </a:rPr>
              <a:t>más</a:t>
            </a:r>
          </a:p>
          <a:p>
            <a:pPr algn="ctr"/>
            <a:r>
              <a:rPr lang="es-ES" sz="1000">
                <a:cs typeface="Calibri"/>
              </a:rPr>
              <a:t>Vs </a:t>
            </a:r>
            <a:r>
              <a:rPr lang="es-ES" sz="1000" err="1">
                <a:cs typeface="Calibri"/>
              </a:rPr>
              <a:t>Baseline</a:t>
            </a:r>
            <a:endParaRPr lang="es-ES" sz="1600" err="1">
              <a:cs typeface="Calibri"/>
            </a:endParaRP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92BDEC40-6473-4CEF-067F-373450C3FBE0}"/>
              </a:ext>
            </a:extLst>
          </p:cNvPr>
          <p:cNvSpPr txBox="1"/>
          <p:nvPr/>
        </p:nvSpPr>
        <p:spPr>
          <a:xfrm>
            <a:off x="6715699" y="4943819"/>
            <a:ext cx="2607323" cy="58477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s-ES" sz="1600" b="1">
                <a:cs typeface="Calibri"/>
              </a:rPr>
              <a:t>Promedio Venta:</a:t>
            </a:r>
          </a:p>
          <a:p>
            <a:pPr algn="ctr"/>
            <a:r>
              <a:rPr lang="es-ES" sz="1600">
                <a:cs typeface="Calibri"/>
              </a:rPr>
              <a:t>408M/hora</a:t>
            </a: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34DCEA1E-5662-516C-66F2-FBD3F2912C68}"/>
              </a:ext>
            </a:extLst>
          </p:cNvPr>
          <p:cNvSpPr txBox="1"/>
          <p:nvPr/>
        </p:nvSpPr>
        <p:spPr>
          <a:xfrm>
            <a:off x="9524999" y="4943818"/>
            <a:ext cx="2607323" cy="58477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s-ES" sz="1600" b="1">
                <a:cs typeface="Calibri"/>
              </a:rPr>
              <a:t>R2 </a:t>
            </a:r>
            <a:r>
              <a:rPr lang="es-ES" sz="1600" b="1" err="1">
                <a:cs typeface="Calibri"/>
              </a:rPr>
              <a:t>Baseline</a:t>
            </a:r>
            <a:r>
              <a:rPr lang="es-ES" sz="1600" b="1">
                <a:cs typeface="Calibri"/>
              </a:rPr>
              <a:t>:</a:t>
            </a:r>
          </a:p>
          <a:p>
            <a:pPr algn="ctr"/>
            <a:r>
              <a:rPr lang="es-ES" sz="1600">
                <a:cs typeface="Calibri"/>
              </a:rPr>
              <a:t>0.16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466F8387-C66D-1EC9-8EFF-AE1FEC2F61DA}"/>
              </a:ext>
            </a:extLst>
          </p:cNvPr>
          <p:cNvSpPr txBox="1"/>
          <p:nvPr/>
        </p:nvSpPr>
        <p:spPr>
          <a:xfrm>
            <a:off x="8239698" y="4943817"/>
            <a:ext cx="2607323" cy="58477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s-ES" sz="1600" b="1">
                <a:cs typeface="Calibri"/>
              </a:rPr>
              <a:t>MAE </a:t>
            </a:r>
            <a:r>
              <a:rPr lang="es-ES" sz="1600" b="1" err="1">
                <a:cs typeface="Calibri"/>
              </a:rPr>
              <a:t>Baseline</a:t>
            </a:r>
            <a:r>
              <a:rPr lang="es-ES" sz="1600" b="1">
                <a:cs typeface="Calibri"/>
              </a:rPr>
              <a:t>:</a:t>
            </a:r>
          </a:p>
          <a:p>
            <a:pPr algn="ctr"/>
            <a:r>
              <a:rPr lang="es-ES" sz="1600">
                <a:cs typeface="Calibri"/>
              </a:rPr>
              <a:t>188M</a:t>
            </a:r>
          </a:p>
        </p:txBody>
      </p:sp>
    </p:spTree>
    <p:extLst>
      <p:ext uri="{BB962C8B-B14F-4D97-AF65-F5344CB8AC3E}">
        <p14:creationId xmlns:p14="http://schemas.microsoft.com/office/powerpoint/2010/main" val="11546616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2C1C112-B2DE-0DB0-457A-3546D8458E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>
                <a:cs typeface="Calibri Light"/>
              </a:rPr>
              <a:t>Retos</a:t>
            </a:r>
            <a:endParaRPr lang="es-ES"/>
          </a:p>
        </p:txBody>
      </p:sp>
      <p:graphicFrame>
        <p:nvGraphicFramePr>
          <p:cNvPr id="5" name="Marcador de contenido 2">
            <a:extLst>
              <a:ext uri="{FF2B5EF4-FFF2-40B4-BE49-F238E27FC236}">
                <a16:creationId xmlns:a16="http://schemas.microsoft.com/office/drawing/2014/main" id="{F3FB43B9-3B20-1C67-1708-56CC37C70ED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19002244"/>
              </p:ext>
            </p:extLst>
          </p:nvPr>
        </p:nvGraphicFramePr>
        <p:xfrm>
          <a:off x="1163251" y="1853853"/>
          <a:ext cx="9865499" cy="378285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47588207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403079F5-EBF8-1F9C-90D1-CE4321E36E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77614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03079F5-EBF8-1F9C-90D1-CE4321E36E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581C3BA4-DFD3-11FB-9CAC-1263552429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s-ES">
                <a:cs typeface="Calibri Light"/>
              </a:rPr>
              <a:t>Conclusiones</a:t>
            </a:r>
            <a:endParaRPr lang="es-E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83134FF4-FAE7-1C61-24AA-670B07BA852E}"/>
              </a:ext>
            </a:extLst>
          </p:cNvPr>
          <p:cNvGrpSpPr/>
          <p:nvPr/>
        </p:nvGrpSpPr>
        <p:grpSpPr>
          <a:xfrm>
            <a:off x="1532876" y="3363472"/>
            <a:ext cx="5030008" cy="707886"/>
            <a:chOff x="1478071" y="2191454"/>
            <a:chExt cx="5030008" cy="707886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697C44C8-36B0-D4FC-E584-FB4A332A4AF1}"/>
                </a:ext>
              </a:extLst>
            </p:cNvPr>
            <p:cNvSpPr txBox="1"/>
            <p:nvPr/>
          </p:nvSpPr>
          <p:spPr>
            <a:xfrm>
              <a:off x="1478071" y="2191454"/>
              <a:ext cx="1287532" cy="70788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4000" b="1" i="1">
                  <a:solidFill>
                    <a:schemeClr val="tx2"/>
                  </a:solidFill>
                  <a:latin typeface="Georgia" panose="02040502050405020303" pitchFamily="18" charset="0"/>
                </a:rPr>
                <a:t>93%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DAE5F6DA-61E9-CC4A-A811-2123AA232905}"/>
                </a:ext>
              </a:extLst>
            </p:cNvPr>
            <p:cNvSpPr txBox="1"/>
            <p:nvPr/>
          </p:nvSpPr>
          <p:spPr>
            <a:xfrm>
              <a:off x="2882956" y="2222232"/>
              <a:ext cx="3625123" cy="646331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r>
                <a:rPr lang="es-CO" sz="2000"/>
                <a:t>De la variación de los datos es explicado por el modelo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B341BFC8-B657-E093-CD2F-E50EE5CBF148}"/>
              </a:ext>
            </a:extLst>
          </p:cNvPr>
          <p:cNvGrpSpPr/>
          <p:nvPr/>
        </p:nvGrpSpPr>
        <p:grpSpPr>
          <a:xfrm>
            <a:off x="1215784" y="4611151"/>
            <a:ext cx="5347100" cy="1140059"/>
            <a:chOff x="1160979" y="1975368"/>
            <a:chExt cx="5347100" cy="1140059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60E4EBFA-F77A-8277-BADF-A5332E7F1E2A}"/>
                </a:ext>
              </a:extLst>
            </p:cNvPr>
            <p:cNvSpPr txBox="1"/>
            <p:nvPr/>
          </p:nvSpPr>
          <p:spPr>
            <a:xfrm>
              <a:off x="1160979" y="1975368"/>
              <a:ext cx="1721977" cy="1140059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ctr"/>
              <a:r>
                <a:rPr lang="en-US" sz="2000" i="1">
                  <a:solidFill>
                    <a:schemeClr val="tx2"/>
                  </a:solidFill>
                  <a:latin typeface="Georgia" panose="02040502050405020303" pitchFamily="18" charset="0"/>
                </a:rPr>
                <a:t>COP$</a:t>
              </a:r>
              <a:r>
                <a:rPr lang="en-US" sz="2000" b="1" i="1">
                  <a:solidFill>
                    <a:schemeClr val="tx2"/>
                  </a:solidFill>
                  <a:latin typeface="Georgia" panose="02040502050405020303" pitchFamily="18" charset="0"/>
                </a:rPr>
                <a:t> </a:t>
              </a:r>
              <a:r>
                <a:rPr lang="en-US" sz="4000" b="1" i="1">
                  <a:solidFill>
                    <a:schemeClr val="tx2"/>
                  </a:solidFill>
                  <a:latin typeface="Georgia" panose="02040502050405020303" pitchFamily="18" charset="0"/>
                </a:rPr>
                <a:t>58 </a:t>
              </a:r>
              <a:r>
                <a:rPr lang="en-US" sz="2000" b="1" i="1">
                  <a:solidFill>
                    <a:schemeClr val="tx2"/>
                  </a:solidFill>
                  <a:latin typeface="Georgia" panose="02040502050405020303" pitchFamily="18" charset="0"/>
                </a:rPr>
                <a:t>mm</a:t>
              </a:r>
              <a:endParaRPr lang="en-US" sz="4000" b="1" i="1">
                <a:solidFill>
                  <a:schemeClr val="tx2"/>
                </a:solidFill>
                <a:latin typeface="Georgia" panose="02040502050405020303" pitchFamily="18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A09413D6-BA5D-2FC6-3362-419C3EAFA0CC}"/>
                </a:ext>
              </a:extLst>
            </p:cNvPr>
            <p:cNvSpPr txBox="1"/>
            <p:nvPr/>
          </p:nvSpPr>
          <p:spPr>
            <a:xfrm>
              <a:off x="2882956" y="2316788"/>
              <a:ext cx="3625123" cy="457219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r>
                <a:rPr lang="es-CO" sz="2000"/>
                <a:t>De error por hora</a:t>
              </a:r>
            </a:p>
          </p:txBody>
        </p:sp>
      </p:grpSp>
      <p:sp>
        <p:nvSpPr>
          <p:cNvPr id="13" name="Rectangle 12">
            <a:extLst>
              <a:ext uri="{FF2B5EF4-FFF2-40B4-BE49-F238E27FC236}">
                <a16:creationId xmlns:a16="http://schemas.microsoft.com/office/drawing/2014/main" id="{C14328F1-F71E-158D-6DCD-EAFC541E76AF}"/>
              </a:ext>
            </a:extLst>
          </p:cNvPr>
          <p:cNvSpPr/>
          <p:nvPr/>
        </p:nvSpPr>
        <p:spPr>
          <a:xfrm>
            <a:off x="6731000" y="1877710"/>
            <a:ext cx="4424680" cy="391349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E498A8D-F48A-0AE4-FAD9-03BDF1901E9F}"/>
              </a:ext>
            </a:extLst>
          </p:cNvPr>
          <p:cNvSpPr txBox="1"/>
          <p:nvPr/>
        </p:nvSpPr>
        <p:spPr>
          <a:xfrm>
            <a:off x="7418046" y="1992010"/>
            <a:ext cx="3050588" cy="43954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s-CO" sz="2000" b="1" i="1">
                <a:solidFill>
                  <a:schemeClr val="tx2"/>
                </a:solidFill>
                <a:latin typeface="Georgia" panose="02040502050405020303" pitchFamily="18" charset="0"/>
              </a:rPr>
              <a:t>Siguientes pasos:</a:t>
            </a:r>
            <a:endParaRPr lang="es-CO" sz="4000" b="1" i="1">
              <a:solidFill>
                <a:schemeClr val="tx2"/>
              </a:solidFill>
              <a:latin typeface="Georgia" panose="02040502050405020303" pitchFamily="18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A3B055A-4401-DD2B-7985-950CE56D997C}"/>
              </a:ext>
            </a:extLst>
          </p:cNvPr>
          <p:cNvSpPr txBox="1"/>
          <p:nvPr/>
        </p:nvSpPr>
        <p:spPr>
          <a:xfrm>
            <a:off x="6750140" y="2653059"/>
            <a:ext cx="4386399" cy="232723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342900" indent="-342900">
              <a:spcBef>
                <a:spcPts val="1200"/>
              </a:spcBef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es-CO" sz="2000"/>
              <a:t>Entrega del modelo</a:t>
            </a:r>
          </a:p>
          <a:p>
            <a:pPr marL="342900" indent="-342900">
              <a:spcBef>
                <a:spcPts val="1200"/>
              </a:spcBef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es-CO" sz="2000"/>
              <a:t>Medir el impacto monetario del modelo</a:t>
            </a:r>
          </a:p>
          <a:p>
            <a:pPr marL="342900" indent="-342900">
              <a:spcBef>
                <a:spcPts val="1200"/>
              </a:spcBef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es-CO" sz="2000"/>
              <a:t>Mejora continua del modelo</a:t>
            </a:r>
          </a:p>
          <a:p>
            <a:pPr marL="342900" indent="-342900">
              <a:spcBef>
                <a:spcPts val="1200"/>
              </a:spcBef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es-CO" sz="2000"/>
              <a:t>Despliegue de la aplicación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B19BFFF-9A4B-3774-985F-50734AE9C87C}"/>
              </a:ext>
            </a:extLst>
          </p:cNvPr>
          <p:cNvSpPr txBox="1"/>
          <p:nvPr/>
        </p:nvSpPr>
        <p:spPr>
          <a:xfrm>
            <a:off x="1292539" y="1992010"/>
            <a:ext cx="4913003" cy="106082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s-CO" sz="2000" b="1" i="1">
                <a:solidFill>
                  <a:schemeClr val="tx2"/>
                </a:solidFill>
                <a:latin typeface="Georgia" panose="02040502050405020303" pitchFamily="18" charset="0"/>
              </a:rPr>
              <a:t>El producto resuelve el problema mediante la conexión de los datos operativos y comerciales</a:t>
            </a:r>
            <a:endParaRPr lang="es-CO" sz="4000" b="1" i="1">
              <a:solidFill>
                <a:schemeClr val="tx2"/>
              </a:solidFill>
              <a:latin typeface="Georgia" panose="020405020504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47947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etrospect">
  <a:themeElements>
    <a:clrScheme name="Retrospect">
      <a:dk1>
        <a:sysClr val="windowText" lastClr="000000"/>
      </a:dk1>
      <a:lt1>
        <a:sysClr val="window" lastClr="FFFFFF"/>
      </a:lt1>
      <a:dk2>
        <a:srgbClr val="344068"/>
      </a:dk2>
      <a:lt2>
        <a:srgbClr val="D9E0E6"/>
      </a:lt2>
      <a:accent1>
        <a:srgbClr val="1CADE4"/>
      </a:accent1>
      <a:accent2>
        <a:srgbClr val="2683C6"/>
      </a:accent2>
      <a:accent3>
        <a:srgbClr val="28C4CC"/>
      </a:accent3>
      <a:accent4>
        <a:srgbClr val="42BA97"/>
      </a:accent4>
      <a:accent5>
        <a:srgbClr val="3E8853"/>
      </a:accent5>
      <a:accent6>
        <a:srgbClr val="62A39F"/>
      </a:accent6>
      <a:hlink>
        <a:srgbClr val="6EAC1C"/>
      </a:hlink>
      <a:folHlink>
        <a:srgbClr val="B26B02"/>
      </a:folHlink>
    </a:clrScheme>
    <a:fontScheme name="Retrospect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Retrospec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etrospect" id="{5F128B03-DCCA-4EEB-AB3B-CF2899314A46}" vid="{9CC26709-368C-4D72-9060-94E5B3FF3CD6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F00001246</Template>
  <Application>Microsoft Office PowerPoint</Application>
  <PresentationFormat>Panorámica</PresentationFormat>
  <Slides>6</Slides>
  <Notes>3</Notes>
  <HiddenSlides>0</HiddenSlides>
  <ScaleCrop>false</ScaleCrop>
  <HeadingPairs>
    <vt:vector size="4" baseType="variant">
      <vt:variant>
        <vt:lpstr>Tema</vt:lpstr>
      </vt:variant>
      <vt:variant>
        <vt:i4>1</vt:i4>
      </vt:variant>
      <vt:variant>
        <vt:lpstr>Títulos de diapositiva</vt:lpstr>
      </vt:variant>
      <vt:variant>
        <vt:i4>6</vt:i4>
      </vt:variant>
    </vt:vector>
  </HeadingPairs>
  <TitlesOfParts>
    <vt:vector size="7" baseType="lpstr">
      <vt:lpstr>Retrospect</vt:lpstr>
      <vt:lpstr>¿Por qué esta solución?</vt:lpstr>
      <vt:lpstr>Presentación de PowerPoint</vt:lpstr>
      <vt:lpstr>Arquitectura de Solución</vt:lpstr>
      <vt:lpstr>Resultados</vt:lpstr>
      <vt:lpstr>Retos</vt:lpstr>
      <vt:lpstr>Conclusion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/>
  <cp:revision>17</cp:revision>
  <dcterms:created xsi:type="dcterms:W3CDTF">2023-11-04T15:38:12Z</dcterms:created>
  <dcterms:modified xsi:type="dcterms:W3CDTF">2023-12-02T15:44:21Z</dcterms:modified>
</cp:coreProperties>
</file>